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5"/>
  </p:notesMasterIdLst>
  <p:sldIdLst>
    <p:sldId id="359" r:id="rId5"/>
    <p:sldId id="381" r:id="rId6"/>
    <p:sldId id="3567" r:id="rId7"/>
    <p:sldId id="386" r:id="rId8"/>
    <p:sldId id="3568" r:id="rId9"/>
    <p:sldId id="3570" r:id="rId10"/>
    <p:sldId id="3566" r:id="rId11"/>
    <p:sldId id="3569" r:id="rId12"/>
    <p:sldId id="3571" r:id="rId13"/>
    <p:sldId id="374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70B8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D4FC0C-7749-0245-91B7-B907E5FCD4F1}" v="10" dt="2025-10-08T08:45:34.6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88" autoAdjust="0"/>
    <p:restoredTop sz="82344"/>
  </p:normalViewPr>
  <p:slideViewPr>
    <p:cSldViewPr snapToGrid="0">
      <p:cViewPr varScale="1">
        <p:scale>
          <a:sx n="95" d="100"/>
          <a:sy n="95" d="100"/>
        </p:scale>
        <p:origin x="107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E5160-FBFE-46B3-8966-792633D71EBE}" type="datetimeFigureOut">
              <a:rPr lang="en-US" smtClean="0"/>
              <a:t>10/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305D75-986B-436C-96B6-B1ABE670B6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426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305D75-986B-436C-96B6-B1ABE670B61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45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55365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1200" y="2209800"/>
            <a:ext cx="8331200" cy="609600"/>
          </a:xfrm>
        </p:spPr>
        <p:txBody>
          <a:bodyPr>
            <a:noAutofit/>
          </a:bodyPr>
          <a:lstStyle>
            <a:lvl1pPr marL="0" indent="0" algn="l">
              <a:buNone/>
              <a:defRPr sz="3200" b="0" i="0">
                <a:solidFill>
                  <a:srgbClr val="FFFFFF"/>
                </a:solidFill>
                <a:latin typeface="+mn-lt"/>
                <a:cs typeface="Museo Sans 50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11200" y="3124200"/>
            <a:ext cx="5791200" cy="1447800"/>
          </a:xfrm>
          <a:noFill/>
        </p:spPr>
        <p:txBody>
          <a:bodyPr/>
          <a:lstStyle>
            <a:lvl1pPr marL="0" marR="0" indent="-342891" algn="l" defTabSz="914377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solidFill>
                  <a:srgbClr val="FFFFFF"/>
                </a:solidFill>
                <a:latin typeface="+mn-lt"/>
                <a:cs typeface="Museo Slab 300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891" marR="0" lvl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11200" y="4877477"/>
            <a:ext cx="9753600" cy="304800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1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4EF63-55A6-4F45-9DCF-4DDF12899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9CAF67-8369-4CDE-A804-85259A5876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58605" y="5884784"/>
            <a:ext cx="2823795" cy="78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575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15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marL="0" indent="0"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31D734-4300-47A2-A962-F31C5614D844}"/>
              </a:ext>
            </a:extLst>
          </p:cNvPr>
          <p:cNvCxnSpPr>
            <a:cxnSpLocks/>
          </p:cNvCxnSpPr>
          <p:nvPr userDrawn="1"/>
        </p:nvCxnSpPr>
        <p:spPr>
          <a:xfrm flipV="1">
            <a:off x="949572" y="1165748"/>
            <a:ext cx="10292856" cy="1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81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footer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752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CF15E3D-837B-4067-8ECC-DFEC84DE3E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326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1600200"/>
            <a:ext cx="6023550" cy="3697434"/>
          </a:xfrm>
        </p:spPr>
        <p:txBody>
          <a:bodyPr>
            <a:noAutofit/>
          </a:bodyPr>
          <a:lstStyle>
            <a:lvl1pPr marL="457200" indent="-4572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8" indent="-3429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77" indent="-3429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66" indent="-3429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 marL="2057355" indent="-2286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473082" y="1600200"/>
            <a:ext cx="3769346" cy="369743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FE4263-DC0A-434C-BBD6-F3976532EDEE}"/>
              </a:ext>
            </a:extLst>
          </p:cNvPr>
          <p:cNvCxnSpPr>
            <a:cxnSpLocks/>
          </p:cNvCxnSpPr>
          <p:nvPr userDrawn="1"/>
        </p:nvCxnSpPr>
        <p:spPr>
          <a:xfrm>
            <a:off x="942957" y="1165761"/>
            <a:ext cx="1029947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D1128394-0C27-4C4A-B659-BC798BFA3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1046"/>
            <a:ext cx="10292856" cy="891111"/>
          </a:xfrm>
        </p:spPr>
        <p:txBody>
          <a:bodyPr lIns="0" bIns="0" anchor="b">
            <a:no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4EF8A1-919F-416D-8465-0BC6FC6E8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475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204475" y="1427308"/>
            <a:ext cx="3929433" cy="4092031"/>
          </a:xfrm>
          <a:ln w="28575" cmpd="sng">
            <a:solidFill>
              <a:srgbClr val="5B513D">
                <a:alpha val="0"/>
              </a:srgbClr>
            </a:solidFill>
          </a:ln>
          <a:effectLst>
            <a:softEdge rad="12700"/>
          </a:effectLst>
        </p:spPr>
        <p:txBody>
          <a:bodyPr/>
          <a:lstStyle>
            <a:lvl1pPr marL="0" indent="0">
              <a:buNone/>
              <a:defRPr sz="3200">
                <a:solidFill>
                  <a:schemeClr val="bg2">
                    <a:lumMod val="85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947367" y="1427308"/>
            <a:ext cx="5857628" cy="45720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D402E9C-7830-4854-95EF-98A57B21C91B}"/>
              </a:ext>
            </a:extLst>
          </p:cNvPr>
          <p:cNvCxnSpPr>
            <a:cxnSpLocks/>
          </p:cNvCxnSpPr>
          <p:nvPr userDrawn="1"/>
        </p:nvCxnSpPr>
        <p:spPr>
          <a:xfrm>
            <a:off x="947367" y="1165761"/>
            <a:ext cx="102950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C9ADF9AC-3619-41A8-9B3A-2A49B6683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2620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EF26F8-4E1B-471F-A18D-DEE68CF2B8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2661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1524000"/>
            <a:ext cx="10292856" cy="3733800"/>
          </a:xfrm>
        </p:spPr>
        <p:txBody>
          <a:bodyPr>
            <a:noAutofit/>
          </a:bodyPr>
          <a:lstStyle>
            <a:lvl1pPr marL="457189" indent="-457189">
              <a:buClr>
                <a:schemeClr val="accent1"/>
              </a:buClr>
              <a:buFont typeface="+mj-lt"/>
              <a:buAutoNum type="arabicPeriod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chemeClr val="accent1"/>
              </a:buClr>
              <a:buFont typeface="+mj-lt"/>
              <a:buAutoNum type="arabicPeriod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69" indent="-342891">
              <a:buClr>
                <a:schemeClr val="accent1"/>
              </a:buClr>
              <a:buFont typeface="+mj-lt"/>
              <a:buAutoNum type="arabicPeriod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57" indent="-342891">
              <a:buClr>
                <a:schemeClr val="accent1"/>
              </a:buClr>
              <a:buFont typeface="+mj-lt"/>
              <a:buAutoNum type="arabicPeriod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6F6F5A7-5B4B-4BDD-94B6-BA9B2825F313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49"/>
            <a:ext cx="1029285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143DEBD0-78D9-4ED5-92ED-3135BF0E4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50024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1EDF2-D9A7-4347-9487-052A0116F2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199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1524000"/>
            <a:ext cx="10292856" cy="3733800"/>
          </a:xfrm>
        </p:spPr>
        <p:txBody>
          <a:bodyPr>
            <a:noAutofit/>
          </a:bodyPr>
          <a:lstStyle>
            <a:lvl1pPr marL="457189" indent="-457189">
              <a:buClr>
                <a:schemeClr val="accent1"/>
              </a:buClr>
              <a:buSzPct val="125000"/>
              <a:buFont typeface="Wingdings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69" indent="-342891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57" indent="-342891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AFE847-FA07-46E5-B65D-208EE251890F}"/>
              </a:ext>
            </a:extLst>
          </p:cNvPr>
          <p:cNvCxnSpPr>
            <a:cxnSpLocks/>
          </p:cNvCxnSpPr>
          <p:nvPr userDrawn="1"/>
        </p:nvCxnSpPr>
        <p:spPr>
          <a:xfrm>
            <a:off x="956179" y="1165761"/>
            <a:ext cx="1028624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8E460D8-27AB-4FB1-A8EA-D31A79A3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50024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D44DDB-D9E8-4920-B140-96D30ACF0E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7269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131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_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8596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870640"/>
            <a:ext cx="10292856" cy="2352364"/>
          </a:xfrm>
        </p:spPr>
        <p:txBody>
          <a:bodyPr>
            <a:noAutofit/>
          </a:bodyPr>
          <a:lstStyle>
            <a:lvl1pPr marL="457189" indent="-457189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69" indent="-342891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57" indent="-342891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949572" y="1539710"/>
            <a:ext cx="10292856" cy="1174353"/>
          </a:xfrm>
          <a:solidFill>
            <a:srgbClr val="636466">
              <a:alpha val="50000"/>
            </a:srgbClr>
          </a:solidFill>
        </p:spPr>
        <p:txBody>
          <a:bodyPr anchor="ctr">
            <a:noAutofit/>
          </a:bodyPr>
          <a:lstStyle>
            <a:lvl1pPr marL="457189" indent="-457189">
              <a:buClr>
                <a:srgbClr val="00A6B6"/>
              </a:buClr>
              <a:buFontTx/>
              <a:buNone/>
              <a:defRPr sz="2800" b="0" i="0" baseline="0">
                <a:solidFill>
                  <a:schemeClr val="bg1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269" indent="-342891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457" indent="-342891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30BEFF-781B-48EA-B2C1-109EC3FC606C}"/>
              </a:ext>
            </a:extLst>
          </p:cNvPr>
          <p:cNvCxnSpPr>
            <a:cxnSpLocks/>
          </p:cNvCxnSpPr>
          <p:nvPr userDrawn="1"/>
        </p:nvCxnSpPr>
        <p:spPr>
          <a:xfrm>
            <a:off x="947367" y="1165761"/>
            <a:ext cx="102950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F2F1146-C539-475A-AAD2-F9E06C35D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50024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CAE527-214A-4CEA-AD46-4FD5E0BEEF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921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55615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49572" y="2144902"/>
            <a:ext cx="10632828" cy="1143000"/>
          </a:xfrm>
        </p:spPr>
        <p:txBody>
          <a:bodyPr>
            <a:noAutofit/>
          </a:bodyPr>
          <a:lstStyle>
            <a:lvl1pPr algn="l">
              <a:buFont typeface="Arial" pitchFamily="34" charset="0"/>
              <a:buNone/>
              <a:defRPr sz="4400" b="0" i="0" baseline="0">
                <a:solidFill>
                  <a:srgbClr val="F7F7F7"/>
                </a:solidFill>
                <a:latin typeface="+mj-lt"/>
                <a:cs typeface="Museo Slab 500" panose="02000000000000000000" pitchFamily="50" charset="0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EA8EDA-678A-4ABC-9279-1310FC91E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89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0718D-84B0-4DDB-9CAD-BE090238DE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99379"/>
            <a:ext cx="10972800" cy="1143000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ABEB5AA-F7A8-455A-8F72-C3D991ED11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583323"/>
            <a:ext cx="10972800" cy="609600"/>
          </a:xfrm>
        </p:spPr>
        <p:txBody>
          <a:bodyPr>
            <a:noAutofit/>
          </a:bodyPr>
          <a:lstStyle>
            <a:lvl1pPr algn="ctr">
              <a:buNone/>
              <a:defRPr sz="24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6FAE92-B8B9-442D-8059-BEB0372F7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86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Break_Angl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2">
            <a:extLst>
              <a:ext uri="{FF2B5EF4-FFF2-40B4-BE49-F238E27FC236}">
                <a16:creationId xmlns:a16="http://schemas.microsoft.com/office/drawing/2014/main" id="{8751C015-52C9-4086-AA2F-9BCA2730A13E}"/>
              </a:ext>
            </a:extLst>
          </p:cNvPr>
          <p:cNvSpPr/>
          <p:nvPr userDrawn="1"/>
        </p:nvSpPr>
        <p:spPr>
          <a:xfrm flipH="1">
            <a:off x="3531326" y="0"/>
            <a:ext cx="8660674" cy="6858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49572" y="1815643"/>
            <a:ext cx="6901206" cy="1312911"/>
          </a:xfrm>
        </p:spPr>
        <p:txBody>
          <a:bodyPr>
            <a:noAutofit/>
          </a:bodyPr>
          <a:lstStyle>
            <a:lvl1pPr algn="l">
              <a:buFont typeface="Arial" pitchFamily="34" charset="0"/>
              <a:buNone/>
              <a:defRPr sz="4400" b="0" i="0" baseline="0">
                <a:solidFill>
                  <a:schemeClr val="accent1"/>
                </a:solidFill>
                <a:latin typeface="+mj-lt"/>
                <a:cs typeface="Museo Slab 500" panose="02000000000000000000" pitchFamily="50" charset="0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Museo Sans 300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DA9DC9-5608-4C45-97AC-21F567C06A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7590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t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1390743" y="2178050"/>
            <a:ext cx="9409905" cy="253365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E83AC9-F5BE-4653-AFB3-A1CE76787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17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no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F24D83-658B-4878-A9D5-7F78288CB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678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F24D83-658B-4878-A9D5-7F78288CB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A6D4ECF-612B-4525-B4ED-2DBDBAA34259}"/>
              </a:ext>
            </a:extLst>
          </p:cNvPr>
          <p:cNvCxnSpPr>
            <a:cxnSpLocks/>
          </p:cNvCxnSpPr>
          <p:nvPr userDrawn="1"/>
        </p:nvCxnSpPr>
        <p:spPr>
          <a:xfrm>
            <a:off x="947367" y="1165761"/>
            <a:ext cx="102950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4677A7B-E642-4D4A-BD1F-D8F79F8C9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5A051D-3655-474E-BEB4-701C7523C1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87281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anted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920463" y="-31424"/>
            <a:ext cx="7287620" cy="6880280"/>
          </a:xfrm>
          <a:custGeom>
            <a:avLst/>
            <a:gdLst>
              <a:gd name="connsiteX0" fmla="*/ 0 w 14557568"/>
              <a:gd name="connsiteY0" fmla="*/ 13716000 h 13716000"/>
              <a:gd name="connsiteX1" fmla="*/ 0 w 14557568"/>
              <a:gd name="connsiteY1" fmla="*/ 0 h 13716000"/>
              <a:gd name="connsiteX2" fmla="*/ 14557568 w 14557568"/>
              <a:gd name="connsiteY2" fmla="*/ 13716000 h 13716000"/>
              <a:gd name="connsiteX3" fmla="*/ 0 w 14557568"/>
              <a:gd name="connsiteY3" fmla="*/ 13716000 h 13716000"/>
              <a:gd name="connsiteX0" fmla="*/ 0 w 14557568"/>
              <a:gd name="connsiteY0" fmla="*/ 13827399 h 13827399"/>
              <a:gd name="connsiteX1" fmla="*/ 6661869 w 14557568"/>
              <a:gd name="connsiteY1" fmla="*/ 0 h 13827399"/>
              <a:gd name="connsiteX2" fmla="*/ 14557568 w 14557568"/>
              <a:gd name="connsiteY2" fmla="*/ 13827399 h 13827399"/>
              <a:gd name="connsiteX3" fmla="*/ 0 w 14557568"/>
              <a:gd name="connsiteY3" fmla="*/ 13827399 h 13827399"/>
              <a:gd name="connsiteX0" fmla="*/ 0 w 14557568"/>
              <a:gd name="connsiteY0" fmla="*/ 13827399 h 13827399"/>
              <a:gd name="connsiteX1" fmla="*/ 6466965 w 14557568"/>
              <a:gd name="connsiteY1" fmla="*/ 289637 h 13827399"/>
              <a:gd name="connsiteX2" fmla="*/ 6661869 w 14557568"/>
              <a:gd name="connsiteY2" fmla="*/ 0 h 13827399"/>
              <a:gd name="connsiteX3" fmla="*/ 14557568 w 14557568"/>
              <a:gd name="connsiteY3" fmla="*/ 13827399 h 13827399"/>
              <a:gd name="connsiteX4" fmla="*/ 0 w 14557568"/>
              <a:gd name="connsiteY4" fmla="*/ 13827399 h 13827399"/>
              <a:gd name="connsiteX0" fmla="*/ 0 w 14557568"/>
              <a:gd name="connsiteY0" fmla="*/ 13871959 h 13871959"/>
              <a:gd name="connsiteX1" fmla="*/ 6466965 w 14557568"/>
              <a:gd name="connsiteY1" fmla="*/ 334197 h 13871959"/>
              <a:gd name="connsiteX2" fmla="*/ 7419406 w 14557568"/>
              <a:gd name="connsiteY2" fmla="*/ 0 h 13871959"/>
              <a:gd name="connsiteX3" fmla="*/ 14557568 w 14557568"/>
              <a:gd name="connsiteY3" fmla="*/ 13871959 h 13871959"/>
              <a:gd name="connsiteX4" fmla="*/ 0 w 14557568"/>
              <a:gd name="connsiteY4" fmla="*/ 13871959 h 13871959"/>
              <a:gd name="connsiteX0" fmla="*/ 0 w 14557568"/>
              <a:gd name="connsiteY0" fmla="*/ 13871959 h 13871959"/>
              <a:gd name="connsiteX1" fmla="*/ 6556087 w 14557568"/>
              <a:gd name="connsiteY1" fmla="*/ 155959 h 13871959"/>
              <a:gd name="connsiteX2" fmla="*/ 7419406 w 14557568"/>
              <a:gd name="connsiteY2" fmla="*/ 0 h 13871959"/>
              <a:gd name="connsiteX3" fmla="*/ 14557568 w 14557568"/>
              <a:gd name="connsiteY3" fmla="*/ 13871959 h 13871959"/>
              <a:gd name="connsiteX4" fmla="*/ 0 w 14557568"/>
              <a:gd name="connsiteY4" fmla="*/ 13871959 h 13871959"/>
              <a:gd name="connsiteX0" fmla="*/ 0 w 14571445"/>
              <a:gd name="connsiteY0" fmla="*/ 13760560 h 13760560"/>
              <a:gd name="connsiteX1" fmla="*/ 6556087 w 14571445"/>
              <a:gd name="connsiteY1" fmla="*/ 44560 h 13760560"/>
              <a:gd name="connsiteX2" fmla="*/ 14571445 w 14571445"/>
              <a:gd name="connsiteY2" fmla="*/ 0 h 13760560"/>
              <a:gd name="connsiteX3" fmla="*/ 14557568 w 14571445"/>
              <a:gd name="connsiteY3" fmla="*/ 13760560 h 13760560"/>
              <a:gd name="connsiteX4" fmla="*/ 0 w 14571445"/>
              <a:gd name="connsiteY4" fmla="*/ 13760560 h 1376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71445" h="13760560">
                <a:moveTo>
                  <a:pt x="0" y="13760560"/>
                </a:moveTo>
                <a:lnTo>
                  <a:pt x="6556087" y="44560"/>
                </a:lnTo>
                <a:lnTo>
                  <a:pt x="14571445" y="0"/>
                </a:lnTo>
                <a:cubicBezTo>
                  <a:pt x="14566819" y="4586853"/>
                  <a:pt x="14562194" y="9173707"/>
                  <a:pt x="14557568" y="13760560"/>
                </a:cubicBezTo>
                <a:lnTo>
                  <a:pt x="0" y="13760560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9B397B-5FFF-4718-A899-60E74B4865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85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35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marL="0" indent="0"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31D734-4300-47A2-A962-F31C5614D844}"/>
              </a:ext>
            </a:extLst>
          </p:cNvPr>
          <p:cNvCxnSpPr>
            <a:cxnSpLocks/>
          </p:cNvCxnSpPr>
          <p:nvPr userDrawn="1"/>
        </p:nvCxnSpPr>
        <p:spPr>
          <a:xfrm flipV="1">
            <a:off x="949572" y="1165748"/>
            <a:ext cx="10292856" cy="1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77CF6-8E8E-4097-9D81-6A34BAC6F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07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conten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5988" y="2209800"/>
            <a:ext cx="10296440" cy="3053038"/>
          </a:xfrm>
        </p:spPr>
        <p:txBody>
          <a:bodyPr>
            <a:noAutofit/>
          </a:bodyPr>
          <a:lstStyle>
            <a:lvl1pPr>
              <a:buClr>
                <a:schemeClr val="bg2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bg2"/>
                </a:solidFill>
                <a:latin typeface="+mn-lt"/>
                <a:cs typeface="Museo Slab 300"/>
              </a:defRPr>
            </a:lvl1pPr>
            <a:lvl2pPr>
              <a:buClr>
                <a:schemeClr val="bg2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bg2"/>
                </a:solidFill>
                <a:latin typeface="+mn-lt"/>
                <a:cs typeface="Museo Slab 300"/>
              </a:defRPr>
            </a:lvl2pPr>
            <a:lvl3pPr>
              <a:buClr>
                <a:schemeClr val="bg2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bg2"/>
                </a:solidFill>
                <a:latin typeface="+mn-lt"/>
                <a:cs typeface="Museo Slab 300"/>
              </a:defRPr>
            </a:lvl3pPr>
            <a:lvl4pPr>
              <a:buClr>
                <a:schemeClr val="bg2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bg2"/>
                </a:solidFill>
                <a:latin typeface="+mn-lt"/>
                <a:cs typeface="Museo Slab 300"/>
              </a:defRPr>
            </a:lvl4pPr>
            <a:lvl5pPr>
              <a:buClr>
                <a:schemeClr val="bg2"/>
              </a:buClr>
              <a:buSzPct val="125000"/>
              <a:buFont typeface="Wingdings" pitchFamily="2" charset="2"/>
              <a:buChar char="§"/>
              <a:defRPr sz="1200" b="0" i="0">
                <a:solidFill>
                  <a:schemeClr val="bg2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5988" y="1524000"/>
            <a:ext cx="10296440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+mn-lt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A2A8953-DA18-4DDE-8783-2DF66341789C}"/>
              </a:ext>
            </a:extLst>
          </p:cNvPr>
          <p:cNvCxnSpPr>
            <a:cxnSpLocks/>
          </p:cNvCxnSpPr>
          <p:nvPr userDrawn="1"/>
        </p:nvCxnSpPr>
        <p:spPr>
          <a:xfrm flipV="1">
            <a:off x="926111" y="1165748"/>
            <a:ext cx="10316317" cy="1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89F986A-D4FC-4DED-A0FB-3AE6C65AF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bg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3D056A9-8A08-4B9C-914C-7D0448F931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186" y="6003891"/>
            <a:ext cx="2808806" cy="784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3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content_bottom-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BABF8012-9965-4BAF-A594-3F6F2F652BE0}"/>
              </a:ext>
            </a:extLst>
          </p:cNvPr>
          <p:cNvSpPr/>
          <p:nvPr userDrawn="1"/>
        </p:nvSpPr>
        <p:spPr>
          <a:xfrm>
            <a:off x="9891252" y="4616249"/>
            <a:ext cx="2300749" cy="2241755"/>
          </a:xfrm>
          <a:prstGeom prst="triangle">
            <a:avLst>
              <a:gd name="adj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+mn-lt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401F3C-5133-4946-B9C3-622788077AF9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61"/>
            <a:ext cx="1029285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7B333BB0-0257-4CBE-BDEA-A24FAFC83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7720EB3-FBB1-48E9-BD6E-6B80715826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290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content-top-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301254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38899" y="1475674"/>
            <a:ext cx="10301254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BABF8012-9965-4BAF-A594-3F6F2F652BE0}"/>
              </a:ext>
            </a:extLst>
          </p:cNvPr>
          <p:cNvSpPr/>
          <p:nvPr userDrawn="1"/>
        </p:nvSpPr>
        <p:spPr>
          <a:xfrm rot="16200000">
            <a:off x="9920751" y="29499"/>
            <a:ext cx="2300749" cy="2241755"/>
          </a:xfrm>
          <a:prstGeom prst="triangle">
            <a:avLst>
              <a:gd name="adj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C701D77-A912-4C2A-87E3-EEB2D5253767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61"/>
            <a:ext cx="1030125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87CA5918-154D-418A-84E9-A0CCC5D46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301254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6AC3BE-C20C-4BEC-B5AB-4404ADDC29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292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content-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71900" y="2593319"/>
            <a:ext cx="5403005" cy="3053038"/>
          </a:xfrm>
        </p:spPr>
        <p:txBody>
          <a:bodyPr>
            <a:noAutofit/>
          </a:bodyPr>
          <a:lstStyle>
            <a:lvl1pPr marL="0" indent="0">
              <a:buClr>
                <a:srgbClr val="00A6B6"/>
              </a:buClr>
              <a:buSzPct val="125000"/>
              <a:buFont typeface="Wingdings" pitchFamily="2" charset="2"/>
              <a:buNone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457188" indent="0">
              <a:buClr>
                <a:srgbClr val="00A6B6"/>
              </a:buClr>
              <a:buSzPct val="125000"/>
              <a:buFont typeface="Wingdings" pitchFamily="2" charset="2"/>
              <a:buNone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914377" indent="0">
              <a:buClr>
                <a:srgbClr val="00A6B6"/>
              </a:buClr>
              <a:buSzPct val="125000"/>
              <a:buFont typeface="Wingdings" pitchFamily="2" charset="2"/>
              <a:buNone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371566" indent="0">
              <a:buClr>
                <a:srgbClr val="00A6B6"/>
              </a:buClr>
              <a:buSzPct val="125000"/>
              <a:buFont typeface="Wingdings" pitchFamily="2" charset="2"/>
              <a:buNone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 marL="1828755" indent="0">
              <a:buClr>
                <a:srgbClr val="00A6B6"/>
              </a:buClr>
              <a:buSzPct val="125000"/>
              <a:buFont typeface="Wingdings" pitchFamily="2" charset="2"/>
              <a:buNone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71900" y="1907519"/>
            <a:ext cx="5403005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CEF5D4-DCF4-476E-BB94-20AEA84017D5}"/>
              </a:ext>
            </a:extLst>
          </p:cNvPr>
          <p:cNvSpPr/>
          <p:nvPr userDrawn="1"/>
        </p:nvSpPr>
        <p:spPr>
          <a:xfrm>
            <a:off x="0" y="0"/>
            <a:ext cx="607512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212" y="1793218"/>
            <a:ext cx="4945271" cy="2557581"/>
          </a:xfrm>
        </p:spPr>
        <p:txBody>
          <a:bodyPr anchor="t">
            <a:no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bg2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45D4D46-1EA7-4E49-94C8-D2109B535200}"/>
              </a:ext>
            </a:extLst>
          </p:cNvPr>
          <p:cNvGrpSpPr/>
          <p:nvPr userDrawn="1"/>
        </p:nvGrpSpPr>
        <p:grpSpPr>
          <a:xfrm>
            <a:off x="386865" y="1409700"/>
            <a:ext cx="1985211" cy="902368"/>
            <a:chOff x="224589" y="2209800"/>
            <a:chExt cx="1985211" cy="9023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20AF0B2-2EE2-4A41-A868-A58B6D120C05}"/>
                </a:ext>
              </a:extLst>
            </p:cNvPr>
            <p:cNvCxnSpPr/>
            <p:nvPr userDrawn="1"/>
          </p:nvCxnSpPr>
          <p:spPr>
            <a:xfrm>
              <a:off x="224589" y="2209800"/>
              <a:ext cx="0" cy="902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2C00A28-94F2-4B2F-A723-44A0BE283AA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24589" y="2223168"/>
              <a:ext cx="1985211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EB44389B-5EB2-45F8-8E94-A86F6610F2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186" y="6032029"/>
            <a:ext cx="2668727" cy="74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773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 or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4CCD3-221F-404D-9C00-E4AFCB2C89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289" y="2228511"/>
            <a:ext cx="10271422" cy="1143000"/>
          </a:xfrm>
        </p:spPr>
        <p:txBody>
          <a:bodyPr anchor="t"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Main Statistic or Fac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4FE90DF-5FFC-43C1-9CFB-C24FC90D0FB3}"/>
              </a:ext>
            </a:extLst>
          </p:cNvPr>
          <p:cNvGrpSpPr/>
          <p:nvPr userDrawn="1"/>
        </p:nvGrpSpPr>
        <p:grpSpPr>
          <a:xfrm>
            <a:off x="949572" y="1986425"/>
            <a:ext cx="2221832" cy="760077"/>
            <a:chOff x="609600" y="2127504"/>
            <a:chExt cx="2221832" cy="760077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961C945-CB6E-4E76-8943-7840CE5E1116}"/>
                </a:ext>
              </a:extLst>
            </p:cNvPr>
            <p:cNvCxnSpPr/>
            <p:nvPr userDrawn="1"/>
          </p:nvCxnSpPr>
          <p:spPr>
            <a:xfrm>
              <a:off x="609600" y="2127504"/>
              <a:ext cx="0" cy="76007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36AD433-7D79-4046-9364-80D89628819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09600" y="2127504"/>
              <a:ext cx="2221832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BD8A93-7743-4B0B-A0E2-28CB34324D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64681" y="3401134"/>
            <a:ext cx="5862638" cy="1958975"/>
          </a:xfrm>
        </p:spPr>
        <p:txBody>
          <a:bodyPr anchor="ctr">
            <a:noAutofit/>
          </a:bodyPr>
          <a:lstStyle>
            <a:lvl1pPr marL="0" indent="0" algn="ctr">
              <a:buNone/>
              <a:defRPr sz="88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85B543F-6C16-4A30-AD22-7A20181E35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02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/Fact-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4CCD3-221F-404D-9C00-E4AFCB2C89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289" y="2228511"/>
            <a:ext cx="10271422" cy="1143000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Main Statistic or Fac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4FE90DF-5FFC-43C1-9CFB-C24FC90D0FB3}"/>
              </a:ext>
            </a:extLst>
          </p:cNvPr>
          <p:cNvGrpSpPr/>
          <p:nvPr userDrawn="1"/>
        </p:nvGrpSpPr>
        <p:grpSpPr>
          <a:xfrm>
            <a:off x="949572" y="2138825"/>
            <a:ext cx="2221832" cy="760077"/>
            <a:chOff x="609600" y="2127504"/>
            <a:chExt cx="2221832" cy="760077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961C945-CB6E-4E76-8943-7840CE5E1116}"/>
                </a:ext>
              </a:extLst>
            </p:cNvPr>
            <p:cNvCxnSpPr/>
            <p:nvPr userDrawn="1"/>
          </p:nvCxnSpPr>
          <p:spPr>
            <a:xfrm>
              <a:off x="609600" y="2127504"/>
              <a:ext cx="0" cy="760077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36AD433-7D79-4046-9364-80D89628819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09600" y="2127504"/>
              <a:ext cx="222183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5A10267-0C3F-48F2-9968-058289D5F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Museo Sans 300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BD8A93-7743-4B0B-A0E2-28CB34324D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64681" y="3401134"/>
            <a:ext cx="5862638" cy="1958975"/>
          </a:xfrm>
        </p:spPr>
        <p:txBody>
          <a:bodyPr anchor="ctr">
            <a:noAutofit/>
          </a:bodyPr>
          <a:lstStyle>
            <a:lvl1pPr marL="0" indent="0" algn="ctr">
              <a:buNone/>
              <a:defRPr sz="8800">
                <a:solidFill>
                  <a:schemeClr val="bg2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C309AE2-061B-4545-A79E-A220DEE34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185" y="6108269"/>
            <a:ext cx="2343945" cy="654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985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48C9F-7C57-43CC-B2B9-47BC561FF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125213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48C9F-7C57-43CC-B2B9-47BC561FF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A18719A-1C4F-4ABE-AF1A-ACD9861CA6B9}"/>
              </a:ext>
            </a:extLst>
          </p:cNvPr>
          <p:cNvSpPr txBox="1">
            <a:spLocks/>
          </p:cNvSpPr>
          <p:nvPr userDrawn="1"/>
        </p:nvSpPr>
        <p:spPr>
          <a:xfrm>
            <a:off x="9111388" y="6360239"/>
            <a:ext cx="277581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rgbClr val="636466"/>
                </a:solidFill>
                <a:latin typeface="Museo Sans 300"/>
                <a:ea typeface="+mn-ea"/>
                <a:cs typeface="Museo Sans 30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+mj-lt"/>
              </a:rPr>
              <a:t>linkedimmunisation.org |  </a:t>
            </a:r>
            <a:fld id="{F32F67E5-730B-4B3A-9A58-41E5E3F0691E}" type="slidenum">
              <a:rPr lang="en-US" sz="1000" smtClean="0">
                <a:solidFill>
                  <a:schemeClr val="tx1"/>
                </a:solidFill>
                <a:latin typeface="+mj-lt"/>
              </a:rPr>
              <a:pPr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162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8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1" r:id="rId20"/>
    <p:sldLayoutId id="2147483683" r:id="rId21"/>
    <p:sldLayoutId id="2147483685" r:id="rId22"/>
    <p:sldLayoutId id="2147483686" r:id="rId23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4400" b="0" i="0" kern="1200">
          <a:solidFill>
            <a:schemeClr val="accent5"/>
          </a:solidFill>
          <a:latin typeface="+mn-lt"/>
          <a:ea typeface="+mj-ea"/>
          <a:cs typeface="Museo Sans 50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3200" b="0" i="0" kern="1200">
          <a:solidFill>
            <a:schemeClr val="accent5"/>
          </a:solidFill>
          <a:latin typeface="+mn-lt"/>
          <a:ea typeface="+mn-ea"/>
          <a:cs typeface="Museo Slab 300"/>
        </a:defRPr>
      </a:lvl1pPr>
      <a:lvl2pPr marL="742932" indent="-28574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800" b="0" i="0" kern="1200">
          <a:solidFill>
            <a:schemeClr val="accent5"/>
          </a:solidFill>
          <a:latin typeface="+mn-lt"/>
          <a:ea typeface="+mn-ea"/>
          <a:cs typeface="Museo Slab 300"/>
        </a:defRPr>
      </a:lvl2pPr>
      <a:lvl3pPr marL="1142971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400" b="0" i="0" kern="1200">
          <a:solidFill>
            <a:schemeClr val="accent5"/>
          </a:solidFill>
          <a:latin typeface="+mn-lt"/>
          <a:ea typeface="+mn-ea"/>
          <a:cs typeface="Museo Slab 300"/>
        </a:defRPr>
      </a:lvl3pPr>
      <a:lvl4pPr marL="1600160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000" b="0" i="0" kern="1200">
          <a:solidFill>
            <a:schemeClr val="accent5"/>
          </a:solidFill>
          <a:latin typeface="+mn-lt"/>
          <a:ea typeface="+mn-ea"/>
          <a:cs typeface="Museo Slab 300"/>
        </a:defRPr>
      </a:lvl4pPr>
      <a:lvl5pPr marL="2057349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000" b="0" i="0" kern="1200">
          <a:solidFill>
            <a:schemeClr val="accent5"/>
          </a:solidFill>
          <a:latin typeface="+mn-lt"/>
          <a:ea typeface="+mn-ea"/>
          <a:cs typeface="Museo Slab 30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D30BD75-D01A-44C4-8287-AD6342194C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200" y="3248526"/>
            <a:ext cx="5791200" cy="1323474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+mj-lt"/>
              </a:rPr>
              <a:t>DAY 2</a:t>
            </a:r>
          </a:p>
          <a:p>
            <a:endParaRPr lang="en-US" sz="2000" dirty="0">
              <a:latin typeface="+mj-lt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955ABA1-9821-408F-B1B3-EA18DBEEA8F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8 October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3DAB2A-9E3C-4E1E-B069-60B98D815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532722"/>
            <a:ext cx="10871200" cy="2299687"/>
          </a:xfrm>
        </p:spPr>
        <p:txBody>
          <a:bodyPr/>
          <a:lstStyle/>
          <a:p>
            <a:r>
              <a:rPr lang="en-US" b="1" dirty="0"/>
              <a:t>Gavi-Linked Learning Forum: 	</a:t>
            </a:r>
            <a:r>
              <a:rPr lang="en-GB" b="1" i="1" dirty="0"/>
              <a:t>Sustaining and Strengthening 	Immunisation Cove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3691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F783D20-4E82-4349-A303-902F4B82358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7" r="18037"/>
          <a:stretch/>
        </p:blipFill>
        <p:spPr>
          <a:xfrm>
            <a:off x="4920463" y="-31424"/>
            <a:ext cx="7287620" cy="688028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9CB2DC-1B5A-48B9-B1BA-7BBC7939507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47200" y="6335713"/>
            <a:ext cx="2844800" cy="365125"/>
          </a:xfrm>
          <a:prstGeom prst="rect">
            <a:avLst/>
          </a:prstGeom>
        </p:spPr>
        <p:txBody>
          <a:bodyPr/>
          <a:lstStyle/>
          <a:p>
            <a:fld id="{F32F67E5-730B-4B3A-9A58-41E5E3F0691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7B7F8B-EEAD-40D1-9CA9-464FE904FA5F}"/>
              </a:ext>
            </a:extLst>
          </p:cNvPr>
          <p:cNvSpPr txBox="1">
            <a:spLocks/>
          </p:cNvSpPr>
          <p:nvPr/>
        </p:nvSpPr>
        <p:spPr>
          <a:xfrm>
            <a:off x="949572" y="1815643"/>
            <a:ext cx="6901206" cy="1312911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spcBef>
                <a:spcPct val="0"/>
              </a:spcBef>
              <a:buNone/>
              <a:defRPr sz="4400" b="0" i="0" kern="1200">
                <a:solidFill>
                  <a:schemeClr val="accent5"/>
                </a:solidFill>
                <a:latin typeface="Museo Sans 500"/>
                <a:ea typeface="+mj-ea"/>
                <a:cs typeface="Museo Sans 50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  <a:latin typeface="Poppins SemiBold"/>
              </a:rPr>
              <a:t>Conclusion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71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E50BD-DF35-BF7E-5F51-67C7F9C0DD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9DC9A7-468F-BCDD-229F-A9E86C234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Field Visit Reflec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EFAC7A-0A85-D962-BDD1-AE09041D7E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92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C4991-4B61-1A33-0582-D450C9D7E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641" y="2939905"/>
            <a:ext cx="6901206" cy="1312911"/>
          </a:xfrm>
        </p:spPr>
        <p:txBody>
          <a:bodyPr/>
          <a:lstStyle/>
          <a:p>
            <a:r>
              <a:rPr lang="en-US" b="1" dirty="0"/>
              <a:t>Session 4: </a:t>
            </a:r>
            <a:br>
              <a:rPr lang="en-US" b="1" dirty="0"/>
            </a:br>
            <a:r>
              <a:rPr lang="en-US" b="1" dirty="0"/>
              <a:t>Reflections &amp; discussion on needs going forwar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8BAB5E-79A5-9932-C7FC-905D847B7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152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87244-46E4-2A46-AAAA-4A2CCE73B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160" y="1117600"/>
            <a:ext cx="10972800" cy="2048859"/>
          </a:xfrm>
        </p:spPr>
        <p:txBody>
          <a:bodyPr anchor="t"/>
          <a:lstStyle/>
          <a:p>
            <a:r>
              <a:rPr lang="en-US" sz="3600" dirty="0">
                <a:solidFill>
                  <a:schemeClr val="tx1"/>
                </a:solidFill>
                <a:latin typeface="+mn-lt"/>
              </a:rPr>
              <a:t>Understanding to what extent interventions and support to improve coverage have been successful </a:t>
            </a:r>
            <a:br>
              <a:rPr lang="en-US" sz="3600" i="1" dirty="0">
                <a:solidFill>
                  <a:schemeClr val="tx1"/>
                </a:solidFill>
                <a:latin typeface="+mn-lt"/>
              </a:rPr>
            </a:br>
            <a:r>
              <a:rPr lang="en-US" sz="3600" dirty="0">
                <a:solidFill>
                  <a:schemeClr val="tx1"/>
                </a:solidFill>
                <a:latin typeface="+mn-lt"/>
              </a:rPr>
              <a:t>– why or why not – </a:t>
            </a:r>
            <a:br>
              <a:rPr lang="en-US" sz="3600" b="1" dirty="0">
                <a:solidFill>
                  <a:schemeClr val="tx2"/>
                </a:solidFill>
                <a:latin typeface="+mn-lt"/>
              </a:rPr>
            </a:br>
            <a:r>
              <a:rPr lang="en-US" sz="3600" b="1" dirty="0">
                <a:solidFill>
                  <a:schemeClr val="accent3"/>
                </a:solidFill>
                <a:latin typeface="+mn-lt"/>
              </a:rPr>
              <a:t>and what can we learn from these successes and failures about the needs of countries going forward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D81883-580D-626D-3DA5-EA178C3F6CF7}"/>
              </a:ext>
            </a:extLst>
          </p:cNvPr>
          <p:cNvSpPr txBox="1"/>
          <p:nvPr/>
        </p:nvSpPr>
        <p:spPr>
          <a:xfrm>
            <a:off x="3050498" y="3248081"/>
            <a:ext cx="61009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dirty="0">
                <a:effectLst/>
              </a:rPr>
              <a:t> 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1CFF1B-950E-5562-73FC-51B69A6A614C}"/>
              </a:ext>
            </a:extLst>
          </p:cNvPr>
          <p:cNvSpPr txBox="1"/>
          <p:nvPr/>
        </p:nvSpPr>
        <p:spPr>
          <a:xfrm>
            <a:off x="3050498" y="3248081"/>
            <a:ext cx="61009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dirty="0">
                <a:effectLst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929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oogle Shape;95;p1">
            <a:extLst>
              <a:ext uri="{FF2B5EF4-FFF2-40B4-BE49-F238E27FC236}">
                <a16:creationId xmlns:a16="http://schemas.microsoft.com/office/drawing/2014/main" id="{1F94B1F3-BDD2-8374-19DD-B1F6C5B0A2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385623"/>
              </p:ext>
            </p:extLst>
          </p:nvPr>
        </p:nvGraphicFramePr>
        <p:xfrm>
          <a:off x="319737" y="206115"/>
          <a:ext cx="6620709" cy="620220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67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1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33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5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4863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u="none" strike="noStrike" cap="none" dirty="0"/>
                        <a:t>Grp</a:t>
                      </a:r>
                      <a:endParaRPr b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/>
                        <a:t>Countries</a:t>
                      </a:r>
                      <a:endParaRPr b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/>
                        <a:t>Topic 1</a:t>
                      </a:r>
                      <a:endParaRPr b="1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/>
                        <a:t>Topic 2</a:t>
                      </a:r>
                      <a:endParaRPr b="1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16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1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Georgia (1) 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Indonesia (2)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Zunera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icroplanning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HCW Capacity Strengthening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752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2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Vietnam (2)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oldova (1)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Elizabeth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Domestic Resource Mobilization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Community Engagement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842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oldova (1) Georgia (1) Ukraine (1) Uzbekistan 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</a:t>
                      </a:r>
                      <a:r>
                        <a:rPr lang="en-US" sz="1800" i="1" dirty="0" err="1"/>
                        <a:t>Ivdity</a:t>
                      </a:r>
                      <a:r>
                        <a:rPr lang="en-US" sz="1800" i="1" dirty="0"/>
                        <a:t>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Performance Monitoring and Mentoring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Community Engagement and Accountability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416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4</a:t>
                      </a:r>
                      <a:endParaRPr sz="180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Subnational reps: Moldova, Georgia, Indonesia, Vietnam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Inga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Subnational Operational Financing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ulti-sectoral Engagement / </a:t>
                      </a:r>
                      <a:r>
                        <a:rPr lang="en-US" sz="1800"/>
                        <a:t>PHC Integration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Google Shape;96;p1">
            <a:extLst>
              <a:ext uri="{FF2B5EF4-FFF2-40B4-BE49-F238E27FC236}">
                <a16:creationId xmlns:a16="http://schemas.microsoft.com/office/drawing/2014/main" id="{176FC1EE-8D28-8CE9-0592-30908703944E}"/>
              </a:ext>
            </a:extLst>
          </p:cNvPr>
          <p:cNvSpPr txBox="1">
            <a:spLocks/>
          </p:cNvSpPr>
          <p:nvPr/>
        </p:nvSpPr>
        <p:spPr>
          <a:xfrm>
            <a:off x="7105338" y="206115"/>
            <a:ext cx="4766925" cy="3802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32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8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4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0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0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SzPts val="3000"/>
              <a:buFont typeface="Wingdings" charset="2"/>
              <a:buNone/>
            </a:pPr>
            <a:r>
              <a:rPr lang="en-US" sz="2000" b="1" dirty="0">
                <a:solidFill>
                  <a:schemeClr val="accent4"/>
                </a:solidFill>
              </a:rPr>
              <a:t>Instructions: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SzPts val="3000"/>
              <a:buFont typeface="Wingdings" charset="2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You have 30 minutes for each topic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Briefly share challenges/successes relative to the topic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Discuss what is needed to overcome these challenges (interventions, resources (</a:t>
            </a:r>
            <a:r>
              <a:rPr lang="en-US" sz="2000" i="1" dirty="0">
                <a:solidFill>
                  <a:schemeClr val="accent4"/>
                </a:solidFill>
              </a:rPr>
              <a:t>how to mobilize these resources</a:t>
            </a:r>
            <a:r>
              <a:rPr lang="en-US" sz="2000" dirty="0">
                <a:solidFill>
                  <a:schemeClr val="accent4"/>
                </a:solidFill>
              </a:rPr>
              <a:t>))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Assign someone to briefly summarize out on the challenges and needs (3 minutes)</a:t>
            </a:r>
          </a:p>
        </p:txBody>
      </p:sp>
    </p:spTree>
    <p:extLst>
      <p:ext uri="{BB962C8B-B14F-4D97-AF65-F5344CB8AC3E}">
        <p14:creationId xmlns:p14="http://schemas.microsoft.com/office/powerpoint/2010/main" val="420767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7D76E-D522-20E1-61B1-ADE92077C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1B4222-AF82-D936-A9B3-7BF6B7F6A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 Topic 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FDAF8E-515B-6DBF-93C8-8CBDF2690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09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2B3EF-ACD4-7AFF-1CF5-17D2733E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ffee Brea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B144DE-A15D-709B-8C82-74B944C67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1399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99C05-F11B-7C25-3436-9D9B6863D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oogle Shape;95;p1">
            <a:extLst>
              <a:ext uri="{FF2B5EF4-FFF2-40B4-BE49-F238E27FC236}">
                <a16:creationId xmlns:a16="http://schemas.microsoft.com/office/drawing/2014/main" id="{92BC7E87-962D-5954-32D4-ECB14E8BCF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5549981"/>
              </p:ext>
            </p:extLst>
          </p:nvPr>
        </p:nvGraphicFramePr>
        <p:xfrm>
          <a:off x="319737" y="206115"/>
          <a:ext cx="6620709" cy="620220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67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1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33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5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4863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u="none" strike="noStrike" cap="none" dirty="0"/>
                        <a:t>Grp</a:t>
                      </a:r>
                      <a:endParaRPr b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/>
                        <a:t>Countries</a:t>
                      </a:r>
                      <a:endParaRPr b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/>
                        <a:t>Topic 1</a:t>
                      </a:r>
                      <a:endParaRPr b="1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/>
                        <a:t>Topic 2</a:t>
                      </a:r>
                      <a:endParaRPr b="1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16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1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Georgia (1) 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Indonesia (2)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Zunera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icroplanning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HCW Capacity Strengthening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752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2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Vietnam (2)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oldova (1)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Elizabeth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Domestic Resource Mobilization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Community Engagement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842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oldova (1) Georgia (1) Ukraine (1) Uzbekistan 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</a:t>
                      </a:r>
                      <a:r>
                        <a:rPr lang="en-US" sz="1800" i="1" dirty="0" err="1"/>
                        <a:t>Ivdity</a:t>
                      </a:r>
                      <a:r>
                        <a:rPr lang="en-US" sz="1800" i="1" dirty="0"/>
                        <a:t>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Performance Monitoring and Mentoring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Community Engagement and Accountability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416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4</a:t>
                      </a:r>
                      <a:endParaRPr sz="180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Subnational reps: Moldova, Georgia, Indonesia, Vietnam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i="1" dirty="0"/>
                        <a:t>(Inga)</a:t>
                      </a:r>
                      <a:endParaRPr sz="1800" i="1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Subnational Operational Financing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Multi-sectoral Engagement/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PHC integration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Google Shape;96;p1">
            <a:extLst>
              <a:ext uri="{FF2B5EF4-FFF2-40B4-BE49-F238E27FC236}">
                <a16:creationId xmlns:a16="http://schemas.microsoft.com/office/drawing/2014/main" id="{FC4E8A5E-FDA4-B62E-8F1B-030C2A3593EA}"/>
              </a:ext>
            </a:extLst>
          </p:cNvPr>
          <p:cNvSpPr txBox="1">
            <a:spLocks/>
          </p:cNvSpPr>
          <p:nvPr/>
        </p:nvSpPr>
        <p:spPr>
          <a:xfrm>
            <a:off x="7105338" y="206115"/>
            <a:ext cx="4766925" cy="3802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32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8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4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0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Clr>
                <a:srgbClr val="F7F7F7"/>
              </a:buClr>
              <a:buSzPct val="125000"/>
              <a:buFont typeface="Wingdings" charset="2"/>
              <a:buChar char="§"/>
              <a:defRPr sz="2000" b="0" i="0" kern="1200">
                <a:solidFill>
                  <a:schemeClr val="accent5"/>
                </a:solidFill>
                <a:latin typeface="+mn-lt"/>
                <a:ea typeface="+mn-ea"/>
                <a:cs typeface="Museo Slab 30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SzPts val="3000"/>
              <a:buFont typeface="Wingdings" charset="2"/>
              <a:buNone/>
            </a:pPr>
            <a:r>
              <a:rPr lang="en-US" sz="2000" b="1" dirty="0">
                <a:solidFill>
                  <a:schemeClr val="accent4"/>
                </a:solidFill>
              </a:rPr>
              <a:t>Instructions: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SzPts val="3000"/>
              <a:buFont typeface="Wingdings" charset="2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You have 30 minutes for each topic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Briefly share challenges/successes relative to the topic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Discuss what is needed to overcome these challenges (interventions, resources (</a:t>
            </a:r>
            <a:r>
              <a:rPr lang="en-US" sz="2000" i="1" dirty="0">
                <a:solidFill>
                  <a:schemeClr val="accent4"/>
                </a:solidFill>
              </a:rPr>
              <a:t>how to mobilize these resources</a:t>
            </a:r>
            <a:r>
              <a:rPr lang="en-US" sz="2000" dirty="0">
                <a:solidFill>
                  <a:schemeClr val="accent4"/>
                </a:solidFill>
              </a:rPr>
              <a:t>))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  <a:buNone/>
            </a:pPr>
            <a:endParaRPr lang="en-US" sz="2000" dirty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buClr>
                <a:schemeClr val="accent4"/>
              </a:buClr>
              <a:buSzPct val="100000"/>
            </a:pPr>
            <a:r>
              <a:rPr lang="en-US" sz="2000" dirty="0">
                <a:solidFill>
                  <a:schemeClr val="accent4"/>
                </a:solidFill>
              </a:rPr>
              <a:t>Assign someone to briefly summarize out on the challenges and needs</a:t>
            </a:r>
          </a:p>
        </p:txBody>
      </p:sp>
    </p:spTree>
    <p:extLst>
      <p:ext uri="{BB962C8B-B14F-4D97-AF65-F5344CB8AC3E}">
        <p14:creationId xmlns:p14="http://schemas.microsoft.com/office/powerpoint/2010/main" val="26654173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5797A-D416-DD7B-7BE5-F3963DB9D8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720FD-4F1E-9DE5-3C18-0708E5270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 </a:t>
            </a:r>
            <a:r>
              <a:rPr lang="en-US"/>
              <a:t>Topic 2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E95C80-AC14-19EC-B3F3-42A1A56B22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926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nked_Blue_2022">
  <a:themeElements>
    <a:clrScheme name="Custom 10">
      <a:dk1>
        <a:srgbClr val="313233"/>
      </a:dk1>
      <a:lt1>
        <a:srgbClr val="FFFFFF"/>
      </a:lt1>
      <a:dk2>
        <a:srgbClr val="313233"/>
      </a:dk2>
      <a:lt2>
        <a:srgbClr val="FFFFFF"/>
      </a:lt2>
      <a:accent1>
        <a:srgbClr val="1070B8"/>
      </a:accent1>
      <a:accent2>
        <a:srgbClr val="13A89E"/>
      </a:accent2>
      <a:accent3>
        <a:srgbClr val="50AED6"/>
      </a:accent3>
      <a:accent4>
        <a:srgbClr val="39A962"/>
      </a:accent4>
      <a:accent5>
        <a:srgbClr val="666666"/>
      </a:accent5>
      <a:accent6>
        <a:srgbClr val="EF5B03"/>
      </a:accent6>
      <a:hlink>
        <a:srgbClr val="1070B8"/>
      </a:hlink>
      <a:folHlink>
        <a:srgbClr val="13A89E"/>
      </a:folHlink>
    </a:clrScheme>
    <a:fontScheme name="Custom 1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4D PowerPoint Template" id="{5A079F09-AB7A-4D69-B352-EE37D95DFAFE}" vid="{9382E6BB-BF34-47B1-947A-7B907364382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Annette Ozaltin</DisplayName>
        <AccountId>18</AccountId>
        <AccountType/>
      </UserInfo>
      <UserInfo>
        <DisplayName>Elizabeth Ohadi</DisplayName>
        <AccountId>13</AccountId>
        <AccountType/>
      </UserInfo>
      <UserInfo>
        <DisplayName>Leah List</DisplayName>
        <AccountId>1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7963BA-3110-44C4-A6D6-44DDB69B39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44C96D-306F-431B-823E-721AE4113A45}">
  <ds:schemaRefs>
    <ds:schemaRef ds:uri="http://purl.org/dc/terms/"/>
    <ds:schemaRef ds:uri="http://schemas.microsoft.com/office/2006/metadata/properties"/>
    <ds:schemaRef ds:uri="bcb27da4-2e3e-416a-a040-6d0b2e3a2039"/>
    <ds:schemaRef ds:uri="http://schemas.openxmlformats.org/package/2006/metadata/core-properties"/>
    <ds:schemaRef ds:uri="http://www.w3.org/XML/1998/namespace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infopath/2007/PartnerControls"/>
    <ds:schemaRef ds:uri="a6b7a42b-578f-4fd1-9d67-5a3066b9c5a5"/>
  </ds:schemaRefs>
</ds:datastoreItem>
</file>

<file path=customXml/itemProps3.xml><?xml version="1.0" encoding="utf-8"?>
<ds:datastoreItem xmlns:ds="http://schemas.openxmlformats.org/officeDocument/2006/customXml" ds:itemID="{E7A9B6DD-CB1D-466E-B801-9E8DD5634E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98</TotalTime>
  <Words>359</Words>
  <Application>Microsoft Macintosh PowerPoint</Application>
  <PresentationFormat>Widescreen</PresentationFormat>
  <Paragraphs>90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Museo Sans 300</vt:lpstr>
      <vt:lpstr>Museo Slab 300</vt:lpstr>
      <vt:lpstr>Poppins</vt:lpstr>
      <vt:lpstr>Poppins SemiBold</vt:lpstr>
      <vt:lpstr>Wingdings</vt:lpstr>
      <vt:lpstr>Linked_Blue_2022</vt:lpstr>
      <vt:lpstr>think-cell Slide</vt:lpstr>
      <vt:lpstr>Gavi-Linked Learning Forum:  Sustaining and Strengthening  Immunisation Coverage</vt:lpstr>
      <vt:lpstr>Field Visit Reflections</vt:lpstr>
      <vt:lpstr>Session 4:  Reflections &amp; discussion on needs going forward</vt:lpstr>
      <vt:lpstr>Understanding to what extent interventions and support to improve coverage have been successful  – why or why not –  and what can we learn from these successes and failures about the needs of countries going forward </vt:lpstr>
      <vt:lpstr>PowerPoint Presentation</vt:lpstr>
      <vt:lpstr>Discussion Topic 1</vt:lpstr>
      <vt:lpstr>Coffee Break</vt:lpstr>
      <vt:lpstr>PowerPoint Presentation</vt:lpstr>
      <vt:lpstr>Discussion Topic 2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ked Immunisation Action Network Presentation Template</dc:title>
  <dc:creator>Christina Shaw</dc:creator>
  <cp:lastModifiedBy>Elizabeth Ohadi</cp:lastModifiedBy>
  <cp:revision>4</cp:revision>
  <dcterms:created xsi:type="dcterms:W3CDTF">2022-02-07T18:36:26Z</dcterms:created>
  <dcterms:modified xsi:type="dcterms:W3CDTF">2025-10-08T09:1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